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2"/>
  </p:notesMasterIdLst>
  <p:sldIdLst>
    <p:sldId id="366" r:id="rId2"/>
    <p:sldId id="370" r:id="rId3"/>
    <p:sldId id="369" r:id="rId4"/>
    <p:sldId id="371" r:id="rId5"/>
    <p:sldId id="372" r:id="rId6"/>
    <p:sldId id="373" r:id="rId7"/>
    <p:sldId id="374" r:id="rId8"/>
    <p:sldId id="375" r:id="rId9"/>
    <p:sldId id="376" r:id="rId10"/>
    <p:sldId id="368" r:id="rId11"/>
  </p:sldIdLst>
  <p:sldSz cx="12192000" cy="6858000"/>
  <p:notesSz cx="6858000" cy="9144000"/>
  <p:embeddedFontLst>
    <p:embeddedFont>
      <p:font typeface="Rubik" panose="00000500000000000000" pitchFamily="50" charset="-79"/>
      <p:regular r:id="rId13"/>
      <p:bold r:id="rId14"/>
      <p:italic r:id="rId15"/>
    </p:embeddedFont>
    <p:embeddedFont>
      <p:font typeface="Trebuchet MS" panose="020B0603020202020204" pitchFamily="34" charset="0"/>
      <p:regular r:id="rId16"/>
      <p:bold r:id="rId17"/>
      <p:italic r:id="rId18"/>
      <p:boldItalic r:id="rId19"/>
    </p:embeddedFont>
  </p:embeddedFontLst>
  <p:custDataLst>
    <p:tags r:id="rId20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2E29EE6-8862-4585-8C3D-1CF7E241846C}" v="58" dt="2022-01-28T09:57:02.929"/>
  </p1510:revLst>
</p1510:revInfo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80" d="100"/>
          <a:sy n="80" d="100"/>
        </p:scale>
        <p:origin x="782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machandran, Natarajan" userId="67f39273-021b-4191-aba9-0abb7bec1f4c" providerId="ADAL" clId="{F2E29EE6-8862-4585-8C3D-1CF7E241846C}"/>
    <pc:docChg chg="undo custSel addSld delSld modSld sldOrd">
      <pc:chgData name="Ramachandran, Natarajan" userId="67f39273-021b-4191-aba9-0abb7bec1f4c" providerId="ADAL" clId="{F2E29EE6-8862-4585-8C3D-1CF7E241846C}" dt="2022-01-28T10:08:06.289" v="1231" actId="20577"/>
      <pc:docMkLst>
        <pc:docMk/>
      </pc:docMkLst>
      <pc:sldChg chg="addSp delSp modSp mod">
        <pc:chgData name="Ramachandran, Natarajan" userId="67f39273-021b-4191-aba9-0abb7bec1f4c" providerId="ADAL" clId="{F2E29EE6-8862-4585-8C3D-1CF7E241846C}" dt="2022-01-27T07:56:11.718" v="149" actId="20577"/>
        <pc:sldMkLst>
          <pc:docMk/>
          <pc:sldMk cId="684571084" sldId="366"/>
        </pc:sldMkLst>
        <pc:spChg chg="add del mod">
          <ac:chgData name="Ramachandran, Natarajan" userId="67f39273-021b-4191-aba9-0abb7bec1f4c" providerId="ADAL" clId="{F2E29EE6-8862-4585-8C3D-1CF7E241846C}" dt="2022-01-27T07:55:11.852" v="27"/>
          <ac:spMkLst>
            <pc:docMk/>
            <pc:sldMk cId="684571084" sldId="366"/>
            <ac:spMk id="3" creationId="{DEBE0773-805F-4D9D-B31E-291A7E802CA2}"/>
          </ac:spMkLst>
        </pc:spChg>
        <pc:spChg chg="mod">
          <ac:chgData name="Ramachandran, Natarajan" userId="67f39273-021b-4191-aba9-0abb7bec1f4c" providerId="ADAL" clId="{F2E29EE6-8862-4585-8C3D-1CF7E241846C}" dt="2022-01-27T07:55:38.406" v="108" actId="20577"/>
          <ac:spMkLst>
            <pc:docMk/>
            <pc:sldMk cId="684571084" sldId="366"/>
            <ac:spMk id="16" creationId="{6D6DA9F7-DB64-4567-BE8E-E069C1B10127}"/>
          </ac:spMkLst>
        </pc:spChg>
        <pc:spChg chg="mod">
          <ac:chgData name="Ramachandran, Natarajan" userId="67f39273-021b-4191-aba9-0abb7bec1f4c" providerId="ADAL" clId="{F2E29EE6-8862-4585-8C3D-1CF7E241846C}" dt="2022-01-27T07:56:11.718" v="149" actId="20577"/>
          <ac:spMkLst>
            <pc:docMk/>
            <pc:sldMk cId="684571084" sldId="366"/>
            <ac:spMk id="18" creationId="{1A8455E1-E124-45CE-B4DD-AE99CCF9A248}"/>
          </ac:spMkLst>
        </pc:spChg>
        <pc:spChg chg="del">
          <ac:chgData name="Ramachandran, Natarajan" userId="67f39273-021b-4191-aba9-0abb7bec1f4c" providerId="ADAL" clId="{F2E29EE6-8862-4585-8C3D-1CF7E241846C}" dt="2022-01-27T07:55:11.599" v="0"/>
          <ac:spMkLst>
            <pc:docMk/>
            <pc:sldMk cId="684571084" sldId="366"/>
            <ac:spMk id="19" creationId="{BBAF474D-C48B-47A3-AD43-776B973A4A16}"/>
          </ac:spMkLst>
        </pc:spChg>
        <pc:picChg chg="add del mod ord replST">
          <ac:chgData name="Ramachandran, Natarajan" userId="67f39273-021b-4191-aba9-0abb7bec1f4c" providerId="ADAL" clId="{F2E29EE6-8862-4585-8C3D-1CF7E241846C}" dt="2022-01-27T07:55:11.852" v="25"/>
          <ac:picMkLst>
            <pc:docMk/>
            <pc:sldMk cId="684571084" sldId="366"/>
            <ac:picMk id="8" creationId="{716CD0A9-F183-4C52-8719-CB042977377C}"/>
          </ac:picMkLst>
        </pc:picChg>
        <pc:picChg chg="add mod ord">
          <ac:chgData name="Ramachandran, Natarajan" userId="67f39273-021b-4191-aba9-0abb7bec1f4c" providerId="ADAL" clId="{F2E29EE6-8862-4585-8C3D-1CF7E241846C}" dt="2022-01-27T07:55:11.868" v="48"/>
          <ac:picMkLst>
            <pc:docMk/>
            <pc:sldMk cId="684571084" sldId="366"/>
            <ac:picMk id="11" creationId="{CAECFE7C-E936-4654-B5B6-156523BBDE53}"/>
          </ac:picMkLst>
        </pc:picChg>
        <pc:picChg chg="add del mod ord replST">
          <ac:chgData name="Ramachandran, Natarajan" userId="67f39273-021b-4191-aba9-0abb7bec1f4c" providerId="ADAL" clId="{F2E29EE6-8862-4585-8C3D-1CF7E241846C}" dt="2022-01-27T07:55:12.447" v="76"/>
          <ac:picMkLst>
            <pc:docMk/>
            <pc:sldMk cId="684571084" sldId="366"/>
            <ac:picMk id="12" creationId="{DE569E17-D7D4-4D74-882B-7922218BD61C}"/>
          </ac:picMkLst>
        </pc:picChg>
        <pc:picChg chg="add mod ord">
          <ac:chgData name="Ramachandran, Natarajan" userId="67f39273-021b-4191-aba9-0abb7bec1f4c" providerId="ADAL" clId="{F2E29EE6-8862-4585-8C3D-1CF7E241846C}" dt="2022-01-27T07:55:12.454" v="99"/>
          <ac:picMkLst>
            <pc:docMk/>
            <pc:sldMk cId="684571084" sldId="366"/>
            <ac:picMk id="13" creationId="{86535FBF-10DD-42B2-9013-42D253378F53}"/>
          </ac:picMkLst>
        </pc:picChg>
      </pc:sldChg>
      <pc:sldChg chg="modSp del mod">
        <pc:chgData name="Ramachandran, Natarajan" userId="67f39273-021b-4191-aba9-0abb7bec1f4c" providerId="ADAL" clId="{F2E29EE6-8862-4585-8C3D-1CF7E241846C}" dt="2022-01-28T08:54:44.649" v="419" actId="2696"/>
        <pc:sldMkLst>
          <pc:docMk/>
          <pc:sldMk cId="1022597847" sldId="367"/>
        </pc:sldMkLst>
        <pc:spChg chg="mod">
          <ac:chgData name="Ramachandran, Natarajan" userId="67f39273-021b-4191-aba9-0abb7bec1f4c" providerId="ADAL" clId="{F2E29EE6-8862-4585-8C3D-1CF7E241846C}" dt="2022-01-27T07:56:51.119" v="165" actId="20577"/>
          <ac:spMkLst>
            <pc:docMk/>
            <pc:sldMk cId="1022597847" sldId="367"/>
            <ac:spMk id="2" creationId="{6F28F343-BA60-4E08-9E39-5B5A8795CDA4}"/>
          </ac:spMkLst>
        </pc:spChg>
        <pc:spChg chg="mod">
          <ac:chgData name="Ramachandran, Natarajan" userId="67f39273-021b-4191-aba9-0abb7bec1f4c" providerId="ADAL" clId="{F2E29EE6-8862-4585-8C3D-1CF7E241846C}" dt="2022-01-28T08:54:43.823" v="416" actId="12"/>
          <ac:spMkLst>
            <pc:docMk/>
            <pc:sldMk cId="1022597847" sldId="367"/>
            <ac:spMk id="6" creationId="{525CBB0E-B869-4882-8948-65DD257EDC97}"/>
          </ac:spMkLst>
        </pc:spChg>
      </pc:sldChg>
      <pc:sldChg chg="addSp delSp modSp mod">
        <pc:chgData name="Ramachandran, Natarajan" userId="67f39273-021b-4191-aba9-0abb7bec1f4c" providerId="ADAL" clId="{F2E29EE6-8862-4585-8C3D-1CF7E241846C}" dt="2022-01-28T09:23:59.056" v="1106" actId="26606"/>
        <pc:sldMkLst>
          <pc:docMk/>
          <pc:sldMk cId="1336772705" sldId="369"/>
        </pc:sldMkLst>
        <pc:spChg chg="mod">
          <ac:chgData name="Ramachandran, Natarajan" userId="67f39273-021b-4191-aba9-0abb7bec1f4c" providerId="ADAL" clId="{F2E29EE6-8862-4585-8C3D-1CF7E241846C}" dt="2022-01-28T09:23:59.056" v="1106" actId="26606"/>
          <ac:spMkLst>
            <pc:docMk/>
            <pc:sldMk cId="1336772705" sldId="369"/>
            <ac:spMk id="2" creationId="{3729475E-5342-4F14-86B6-B051CA586F3F}"/>
          </ac:spMkLst>
        </pc:spChg>
        <pc:spChg chg="mod">
          <ac:chgData name="Ramachandran, Natarajan" userId="67f39273-021b-4191-aba9-0abb7bec1f4c" providerId="ADAL" clId="{F2E29EE6-8862-4585-8C3D-1CF7E241846C}" dt="2022-01-28T09:23:59.056" v="1106" actId="26606"/>
          <ac:spMkLst>
            <pc:docMk/>
            <pc:sldMk cId="1336772705" sldId="369"/>
            <ac:spMk id="3" creationId="{29F384B6-4E30-43F2-856C-4931E95D1C09}"/>
          </ac:spMkLst>
        </pc:spChg>
        <pc:spChg chg="mod">
          <ac:chgData name="Ramachandran, Natarajan" userId="67f39273-021b-4191-aba9-0abb7bec1f4c" providerId="ADAL" clId="{F2E29EE6-8862-4585-8C3D-1CF7E241846C}" dt="2022-01-28T09:23:59.056" v="1106" actId="26606"/>
          <ac:spMkLst>
            <pc:docMk/>
            <pc:sldMk cId="1336772705" sldId="369"/>
            <ac:spMk id="4" creationId="{5F02E374-7038-4DE3-AA02-A2C34A7E519F}"/>
          </ac:spMkLst>
        </pc:spChg>
        <pc:spChg chg="add del mod">
          <ac:chgData name="Ramachandran, Natarajan" userId="67f39273-021b-4191-aba9-0abb7bec1f4c" providerId="ADAL" clId="{F2E29EE6-8862-4585-8C3D-1CF7E241846C}" dt="2022-01-28T09:23:59.056" v="1106" actId="26606"/>
          <ac:spMkLst>
            <pc:docMk/>
            <pc:sldMk cId="1336772705" sldId="369"/>
            <ac:spMk id="5" creationId="{52816D73-16BF-4DE5-9470-389365833768}"/>
          </ac:spMkLst>
        </pc:spChg>
        <pc:spChg chg="add del">
          <ac:chgData name="Ramachandran, Natarajan" userId="67f39273-021b-4191-aba9-0abb7bec1f4c" providerId="ADAL" clId="{F2E29EE6-8862-4585-8C3D-1CF7E241846C}" dt="2022-01-28T09:23:59.056" v="1106" actId="26606"/>
          <ac:spMkLst>
            <pc:docMk/>
            <pc:sldMk cId="1336772705" sldId="369"/>
            <ac:spMk id="6" creationId="{8300A30E-56D3-4B3A-8CDB-4EC8BF085B07}"/>
          </ac:spMkLst>
        </pc:spChg>
        <pc:spChg chg="add del">
          <ac:chgData name="Ramachandran, Natarajan" userId="67f39273-021b-4191-aba9-0abb7bec1f4c" providerId="ADAL" clId="{F2E29EE6-8862-4585-8C3D-1CF7E241846C}" dt="2022-01-28T09:23:30.124" v="1083" actId="26606"/>
          <ac:spMkLst>
            <pc:docMk/>
            <pc:sldMk cId="1336772705" sldId="369"/>
            <ac:spMk id="13" creationId="{82B86218-D59A-4CBC-8948-987AA66B47B2}"/>
          </ac:spMkLst>
        </pc:spChg>
        <pc:picChg chg="add mod">
          <ac:chgData name="Ramachandran, Natarajan" userId="67f39273-021b-4191-aba9-0abb7bec1f4c" providerId="ADAL" clId="{F2E29EE6-8862-4585-8C3D-1CF7E241846C}" dt="2022-01-28T09:23:59.056" v="1106" actId="26606"/>
          <ac:picMkLst>
            <pc:docMk/>
            <pc:sldMk cId="1336772705" sldId="369"/>
            <ac:picMk id="8" creationId="{A7BF98C7-BBEE-4B00-B1B2-BD81FB9F84E8}"/>
          </ac:picMkLst>
        </pc:picChg>
      </pc:sldChg>
      <pc:sldChg chg="modSp add mod ord">
        <pc:chgData name="Ramachandran, Natarajan" userId="67f39273-021b-4191-aba9-0abb7bec1f4c" providerId="ADAL" clId="{F2E29EE6-8862-4585-8C3D-1CF7E241846C}" dt="2022-01-28T10:08:06.289" v="1231" actId="20577"/>
        <pc:sldMkLst>
          <pc:docMk/>
          <pc:sldMk cId="894699223" sldId="370"/>
        </pc:sldMkLst>
        <pc:spChg chg="mod">
          <ac:chgData name="Ramachandran, Natarajan" userId="67f39273-021b-4191-aba9-0abb7bec1f4c" providerId="ADAL" clId="{F2E29EE6-8862-4585-8C3D-1CF7E241846C}" dt="2022-01-28T10:08:06.289" v="1231" actId="20577"/>
          <ac:spMkLst>
            <pc:docMk/>
            <pc:sldMk cId="894699223" sldId="370"/>
            <ac:spMk id="6" creationId="{525CBB0E-B869-4882-8948-65DD257EDC97}"/>
          </ac:spMkLst>
        </pc:spChg>
      </pc:sldChg>
      <pc:sldChg chg="addSp delSp modSp add mod">
        <pc:chgData name="Ramachandran, Natarajan" userId="67f39273-021b-4191-aba9-0abb7bec1f4c" providerId="ADAL" clId="{F2E29EE6-8862-4585-8C3D-1CF7E241846C}" dt="2022-01-28T09:28:22.407" v="1115" actId="20577"/>
        <pc:sldMkLst>
          <pc:docMk/>
          <pc:sldMk cId="2290750485" sldId="371"/>
        </pc:sldMkLst>
        <pc:spChg chg="mod">
          <ac:chgData name="Ramachandran, Natarajan" userId="67f39273-021b-4191-aba9-0abb7bec1f4c" providerId="ADAL" clId="{F2E29EE6-8862-4585-8C3D-1CF7E241846C}" dt="2022-01-28T09:28:22.407" v="1115" actId="20577"/>
          <ac:spMkLst>
            <pc:docMk/>
            <pc:sldMk cId="2290750485" sldId="371"/>
            <ac:spMk id="5" creationId="{52816D73-16BF-4DE5-9470-389365833768}"/>
          </ac:spMkLst>
        </pc:spChg>
        <pc:picChg chg="del">
          <ac:chgData name="Ramachandran, Natarajan" userId="67f39273-021b-4191-aba9-0abb7bec1f4c" providerId="ADAL" clId="{F2E29EE6-8862-4585-8C3D-1CF7E241846C}" dt="2022-01-28T09:24:11.882" v="1108" actId="478"/>
          <ac:picMkLst>
            <pc:docMk/>
            <pc:sldMk cId="2290750485" sldId="371"/>
            <ac:picMk id="8" creationId="{A7BF98C7-BBEE-4B00-B1B2-BD81FB9F84E8}"/>
          </ac:picMkLst>
        </pc:picChg>
        <pc:picChg chg="add mod">
          <ac:chgData name="Ramachandran, Natarajan" userId="67f39273-021b-4191-aba9-0abb7bec1f4c" providerId="ADAL" clId="{F2E29EE6-8862-4585-8C3D-1CF7E241846C}" dt="2022-01-28T09:28:16.355" v="1113" actId="14100"/>
          <ac:picMkLst>
            <pc:docMk/>
            <pc:sldMk cId="2290750485" sldId="371"/>
            <ac:picMk id="9" creationId="{EBBBBF95-795D-4232-BB8C-E13787391BD5}"/>
          </ac:picMkLst>
        </pc:picChg>
      </pc:sldChg>
      <pc:sldChg chg="addSp delSp modSp add mod">
        <pc:chgData name="Ramachandran, Natarajan" userId="67f39273-021b-4191-aba9-0abb7bec1f4c" providerId="ADAL" clId="{F2E29EE6-8862-4585-8C3D-1CF7E241846C}" dt="2022-01-28T09:31:22.025" v="1159" actId="1076"/>
        <pc:sldMkLst>
          <pc:docMk/>
          <pc:sldMk cId="2771595735" sldId="372"/>
        </pc:sldMkLst>
        <pc:spChg chg="mod">
          <ac:chgData name="Ramachandran, Natarajan" userId="67f39273-021b-4191-aba9-0abb7bec1f4c" providerId="ADAL" clId="{F2E29EE6-8862-4585-8C3D-1CF7E241846C}" dt="2022-01-28T09:28:53.247" v="1128" actId="20577"/>
          <ac:spMkLst>
            <pc:docMk/>
            <pc:sldMk cId="2771595735" sldId="372"/>
            <ac:spMk id="5" creationId="{52816D73-16BF-4DE5-9470-389365833768}"/>
          </ac:spMkLst>
        </pc:spChg>
        <pc:picChg chg="add mod">
          <ac:chgData name="Ramachandran, Natarajan" userId="67f39273-021b-4191-aba9-0abb7bec1f4c" providerId="ADAL" clId="{F2E29EE6-8862-4585-8C3D-1CF7E241846C}" dt="2022-01-28T09:31:22.025" v="1159" actId="1076"/>
          <ac:picMkLst>
            <pc:docMk/>
            <pc:sldMk cId="2771595735" sldId="372"/>
            <ac:picMk id="8" creationId="{A2C963ED-FEAB-4B80-B92A-18FAA34FF770}"/>
          </ac:picMkLst>
        </pc:picChg>
        <pc:picChg chg="del">
          <ac:chgData name="Ramachandran, Natarajan" userId="67f39273-021b-4191-aba9-0abb7bec1f4c" providerId="ADAL" clId="{F2E29EE6-8862-4585-8C3D-1CF7E241846C}" dt="2022-01-28T09:28:38.800" v="1117" actId="478"/>
          <ac:picMkLst>
            <pc:docMk/>
            <pc:sldMk cId="2771595735" sldId="372"/>
            <ac:picMk id="9" creationId="{EBBBBF95-795D-4232-BB8C-E13787391BD5}"/>
          </ac:picMkLst>
        </pc:picChg>
      </pc:sldChg>
      <pc:sldChg chg="addSp delSp modSp add mod">
        <pc:chgData name="Ramachandran, Natarajan" userId="67f39273-021b-4191-aba9-0abb7bec1f4c" providerId="ADAL" clId="{F2E29EE6-8862-4585-8C3D-1CF7E241846C}" dt="2022-01-28T10:01:33.503" v="1227" actId="1076"/>
        <pc:sldMkLst>
          <pc:docMk/>
          <pc:sldMk cId="2494938713" sldId="373"/>
        </pc:sldMkLst>
        <pc:spChg chg="mod">
          <ac:chgData name="Ramachandran, Natarajan" userId="67f39273-021b-4191-aba9-0abb7bec1f4c" providerId="ADAL" clId="{F2E29EE6-8862-4585-8C3D-1CF7E241846C}" dt="2022-01-28T09:49:51.493" v="1173" actId="20577"/>
          <ac:spMkLst>
            <pc:docMk/>
            <pc:sldMk cId="2494938713" sldId="373"/>
            <ac:spMk id="5" creationId="{52816D73-16BF-4DE5-9470-389365833768}"/>
          </ac:spMkLst>
        </pc:spChg>
        <pc:picChg chg="del">
          <ac:chgData name="Ramachandran, Natarajan" userId="67f39273-021b-4191-aba9-0abb7bec1f4c" providerId="ADAL" clId="{F2E29EE6-8862-4585-8C3D-1CF7E241846C}" dt="2022-01-28T09:49:40.877" v="1161" actId="478"/>
          <ac:picMkLst>
            <pc:docMk/>
            <pc:sldMk cId="2494938713" sldId="373"/>
            <ac:picMk id="8" creationId="{A2C963ED-FEAB-4B80-B92A-18FAA34FF770}"/>
          </ac:picMkLst>
        </pc:picChg>
        <pc:picChg chg="add mod">
          <ac:chgData name="Ramachandran, Natarajan" userId="67f39273-021b-4191-aba9-0abb7bec1f4c" providerId="ADAL" clId="{F2E29EE6-8862-4585-8C3D-1CF7E241846C}" dt="2022-01-28T10:01:33.503" v="1227" actId="1076"/>
          <ac:picMkLst>
            <pc:docMk/>
            <pc:sldMk cId="2494938713" sldId="373"/>
            <ac:picMk id="9" creationId="{72FCBE17-6E6A-4A6F-AA0E-D62F8A67D357}"/>
          </ac:picMkLst>
        </pc:picChg>
      </pc:sldChg>
      <pc:sldChg chg="addSp delSp modSp add mod">
        <pc:chgData name="Ramachandran, Natarajan" userId="67f39273-021b-4191-aba9-0abb7bec1f4c" providerId="ADAL" clId="{F2E29EE6-8862-4585-8C3D-1CF7E241846C}" dt="2022-01-28T09:54:02.471" v="1184" actId="1076"/>
        <pc:sldMkLst>
          <pc:docMk/>
          <pc:sldMk cId="659347667" sldId="374"/>
        </pc:sldMkLst>
        <pc:spChg chg="mod">
          <ac:chgData name="Ramachandran, Natarajan" userId="67f39273-021b-4191-aba9-0abb7bec1f4c" providerId="ADAL" clId="{F2E29EE6-8862-4585-8C3D-1CF7E241846C}" dt="2022-01-28T09:53:51.433" v="1181" actId="20577"/>
          <ac:spMkLst>
            <pc:docMk/>
            <pc:sldMk cId="659347667" sldId="374"/>
            <ac:spMk id="5" creationId="{52816D73-16BF-4DE5-9470-389365833768}"/>
          </ac:spMkLst>
        </pc:spChg>
        <pc:picChg chg="add mod">
          <ac:chgData name="Ramachandran, Natarajan" userId="67f39273-021b-4191-aba9-0abb7bec1f4c" providerId="ADAL" clId="{F2E29EE6-8862-4585-8C3D-1CF7E241846C}" dt="2022-01-28T09:54:02.471" v="1184" actId="1076"/>
          <ac:picMkLst>
            <pc:docMk/>
            <pc:sldMk cId="659347667" sldId="374"/>
            <ac:picMk id="8" creationId="{7F6EF46C-1C70-409D-B8EE-2FBB2A8ACC37}"/>
          </ac:picMkLst>
        </pc:picChg>
        <pc:picChg chg="del">
          <ac:chgData name="Ramachandran, Natarajan" userId="67f39273-021b-4191-aba9-0abb7bec1f4c" providerId="ADAL" clId="{F2E29EE6-8862-4585-8C3D-1CF7E241846C}" dt="2022-01-28T09:53:41.930" v="1175" actId="478"/>
          <ac:picMkLst>
            <pc:docMk/>
            <pc:sldMk cId="659347667" sldId="374"/>
            <ac:picMk id="9" creationId="{72FCBE17-6E6A-4A6F-AA0E-D62F8A67D357}"/>
          </ac:picMkLst>
        </pc:picChg>
      </pc:sldChg>
      <pc:sldChg chg="addSp delSp modSp add mod">
        <pc:chgData name="Ramachandran, Natarajan" userId="67f39273-021b-4191-aba9-0abb7bec1f4c" providerId="ADAL" clId="{F2E29EE6-8862-4585-8C3D-1CF7E241846C}" dt="2022-01-28T10:01:29.386" v="1226" actId="1076"/>
        <pc:sldMkLst>
          <pc:docMk/>
          <pc:sldMk cId="1456296167" sldId="375"/>
        </pc:sldMkLst>
        <pc:spChg chg="mod">
          <ac:chgData name="Ramachandran, Natarajan" userId="67f39273-021b-4191-aba9-0abb7bec1f4c" providerId="ADAL" clId="{F2E29EE6-8862-4585-8C3D-1CF7E241846C}" dt="2022-01-28T09:57:28.786" v="1203" actId="20577"/>
          <ac:spMkLst>
            <pc:docMk/>
            <pc:sldMk cId="1456296167" sldId="375"/>
            <ac:spMk id="5" creationId="{52816D73-16BF-4DE5-9470-389365833768}"/>
          </ac:spMkLst>
        </pc:spChg>
        <pc:picChg chg="del">
          <ac:chgData name="Ramachandran, Natarajan" userId="67f39273-021b-4191-aba9-0abb7bec1f4c" providerId="ADAL" clId="{F2E29EE6-8862-4585-8C3D-1CF7E241846C}" dt="2022-01-28T09:55:48.543" v="1198" actId="478"/>
          <ac:picMkLst>
            <pc:docMk/>
            <pc:sldMk cId="1456296167" sldId="375"/>
            <ac:picMk id="8" creationId="{7F6EF46C-1C70-409D-B8EE-2FBB2A8ACC37}"/>
          </ac:picMkLst>
        </pc:picChg>
        <pc:picChg chg="add mod">
          <ac:chgData name="Ramachandran, Natarajan" userId="67f39273-021b-4191-aba9-0abb7bec1f4c" providerId="ADAL" clId="{F2E29EE6-8862-4585-8C3D-1CF7E241846C}" dt="2022-01-28T10:01:29.386" v="1226" actId="1076"/>
          <ac:picMkLst>
            <pc:docMk/>
            <pc:sldMk cId="1456296167" sldId="375"/>
            <ac:picMk id="9" creationId="{1A85414F-D275-4FB1-91C6-885A1951D55D}"/>
          </ac:picMkLst>
        </pc:picChg>
      </pc:sldChg>
      <pc:sldChg chg="addSp delSp modSp add mod">
        <pc:chgData name="Ramachandran, Natarajan" userId="67f39273-021b-4191-aba9-0abb7bec1f4c" providerId="ADAL" clId="{F2E29EE6-8862-4585-8C3D-1CF7E241846C}" dt="2022-01-28T10:01:26.400" v="1225" actId="1076"/>
        <pc:sldMkLst>
          <pc:docMk/>
          <pc:sldMk cId="1482448511" sldId="376"/>
        </pc:sldMkLst>
        <pc:spChg chg="mod">
          <ac:chgData name="Ramachandran, Natarajan" userId="67f39273-021b-4191-aba9-0abb7bec1f4c" providerId="ADAL" clId="{F2E29EE6-8862-4585-8C3D-1CF7E241846C}" dt="2022-01-28T09:58:15.092" v="1221" actId="20577"/>
          <ac:spMkLst>
            <pc:docMk/>
            <pc:sldMk cId="1482448511" sldId="376"/>
            <ac:spMk id="5" creationId="{52816D73-16BF-4DE5-9470-389365833768}"/>
          </ac:spMkLst>
        </pc:spChg>
        <pc:picChg chg="add mod">
          <ac:chgData name="Ramachandran, Natarajan" userId="67f39273-021b-4191-aba9-0abb7bec1f4c" providerId="ADAL" clId="{F2E29EE6-8862-4585-8C3D-1CF7E241846C}" dt="2022-01-28T10:01:26.400" v="1225" actId="1076"/>
          <ac:picMkLst>
            <pc:docMk/>
            <pc:sldMk cId="1482448511" sldId="376"/>
            <ac:picMk id="8" creationId="{8A838F37-F00E-4679-88C3-DFC6A8A76F72}"/>
          </ac:picMkLst>
        </pc:picChg>
        <pc:picChg chg="del">
          <ac:chgData name="Ramachandran, Natarajan" userId="67f39273-021b-4191-aba9-0abb7bec1f4c" providerId="ADAL" clId="{F2E29EE6-8862-4585-8C3D-1CF7E241846C}" dt="2022-01-28T09:58:17.097" v="1222" actId="478"/>
          <ac:picMkLst>
            <pc:docMk/>
            <pc:sldMk cId="1482448511" sldId="376"/>
            <ac:picMk id="9" creationId="{1A85414F-D275-4FB1-91C6-885A1951D55D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1/28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1/28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1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ver-01" descr="Background pattern&#10;&#10;Description automatically generated">
            <a:extLst>
              <a:ext uri="{FF2B5EF4-FFF2-40B4-BE49-F238E27FC236}">
                <a16:creationId xmlns:a16="http://schemas.microsoft.com/office/drawing/2014/main" id="{86535FBF-10DD-42B2-9013-42D253378F5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52400"/>
            <a:ext cx="12192000" cy="6858000"/>
          </a:xfrm>
        </p:spPr>
      </p:pic>
      <p:pic>
        <p:nvPicPr>
          <p:cNvPr id="11" name="Cover-01" descr="Background pattern&#10;&#10;Description automatically generated">
            <a:extLst>
              <a:ext uri="{FF2B5EF4-FFF2-40B4-BE49-F238E27FC236}">
                <a16:creationId xmlns:a16="http://schemas.microsoft.com/office/drawing/2014/main" id="{CAECFE7C-E936-4654-B5B6-156523BBDE53}"/>
              </a:ext>
            </a:extLst>
          </p:cNvPr>
          <p:cNvPicPr>
            <a:picLocks noGrp="1" noChangeAspect="1"/>
          </p:cNvPicPr>
          <p:nvPr>
            <p:ph type="pic" sz="quarter" idx="31"/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bexio</a:t>
            </a:r>
            <a:r>
              <a:rPr lang="en-US" dirty="0"/>
              <a:t> Provider</a:t>
            </a:r>
          </a:p>
        </p:txBody>
      </p:sp>
      <p:sp>
        <p:nvSpPr>
          <p:cNvPr id="17" name="Subtitle 16">
            <a:extLst>
              <a:ext uri="{FF2B5EF4-FFF2-40B4-BE49-F238E27FC236}">
                <a16:creationId xmlns:a16="http://schemas.microsoft.com/office/drawing/2014/main" id="{86EFEFE6-40D8-4F98-A8DC-DB4A69331A7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</a:t>
            </a:r>
          </a:p>
          <a:p>
            <a:endParaRPr lang="en-US" dirty="0"/>
          </a:p>
          <a:p>
            <a:r>
              <a:rPr lang="en-US" dirty="0"/>
              <a:t>Natarajan Ramachandran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exi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Font typeface="Wingdings" panose="05000000000000000000" pitchFamily="2" charset="2"/>
              <a:buChar char="§"/>
            </a:lvl1pPr>
            <a:lvl2pPr>
              <a:buClr>
                <a:schemeClr val="tx1"/>
              </a:buClr>
              <a:buFont typeface="Wingdings" panose="05000000000000000000" pitchFamily="2" charset="2"/>
              <a:buChar char="§"/>
            </a:lvl2pPr>
            <a:lvl3pPr>
              <a:buClr>
                <a:schemeClr val="tx1"/>
              </a:buClr>
              <a:buFont typeface="Wingdings" panose="05000000000000000000" pitchFamily="2" charset="2"/>
              <a:buChar char="§"/>
            </a:lvl3pPr>
            <a:lvl4pPr>
              <a:buClr>
                <a:schemeClr val="tx1"/>
              </a:buClr>
              <a:buFont typeface="Symbol" panose="05050102010706020507" pitchFamily="18" charset="2"/>
              <a:buChar char="-"/>
            </a:lvl4pPr>
            <a:lvl5pPr>
              <a:buSzPct val="125000"/>
              <a:buFont typeface="Rubik" panose="00000500000000000000" pitchFamily="50" charset="-79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None/>
            </a:pPr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GB" sz="1800" b="1" kern="0" dirty="0" err="1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xio</a:t>
            </a:r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None/>
            </a:pPr>
            <a:r>
              <a:rPr lang="en-US" b="1" dirty="0" err="1"/>
              <a:t>bexio</a:t>
            </a:r>
            <a:r>
              <a:rPr lang="en-US" b="1" dirty="0"/>
              <a:t> </a:t>
            </a:r>
            <a:r>
              <a:rPr lang="en-US" dirty="0"/>
              <a:t>provides a contact management platform that helps anyone to easily manage the contact information of customer, suppliers and other partners. </a:t>
            </a:r>
          </a:p>
          <a:p>
            <a:pPr>
              <a:buNone/>
            </a:pPr>
            <a:r>
              <a:rPr lang="en-US" dirty="0"/>
              <a:t>This connector is build using “</a:t>
            </a:r>
            <a:r>
              <a:rPr lang="en-US" dirty="0" err="1"/>
              <a:t>webMethods</a:t>
            </a:r>
            <a:r>
              <a:rPr lang="en-US" dirty="0"/>
              <a:t> </a:t>
            </a:r>
            <a:r>
              <a:rPr lang="en-US" dirty="0" err="1"/>
              <a:t>cloudstreams</a:t>
            </a:r>
            <a:r>
              <a:rPr lang="en-US" dirty="0"/>
              <a:t> provider” in Designer.  </a:t>
            </a:r>
          </a:p>
          <a:p>
            <a:pPr>
              <a:buNone/>
            </a:pPr>
            <a:r>
              <a:rPr lang="en-US" dirty="0"/>
              <a:t>Connector capabilities 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ST Connecto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0Auth 2.0 is used as the authenticati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quest/Response is in JSON forma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Handles various response code </a:t>
            </a:r>
            <a:r>
              <a:rPr lang="en-US"/>
              <a:t>(200,201,400,401,404,422</a:t>
            </a:r>
            <a:r>
              <a:rPr lang="en-US" dirty="0"/>
              <a:t>)</a:t>
            </a:r>
          </a:p>
          <a:p>
            <a:pPr>
              <a:buNone/>
            </a:pPr>
            <a:r>
              <a:rPr lang="en-US" dirty="0"/>
              <a:t>Benefits 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Easy to connect to the SAAS provider and to manage the contacts using CRUD operation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Provides pagination/limits to control the number of records being fetched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46992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Screenshots for workflow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IN"/>
              <a:t>fetchListContacts</a:t>
            </a:r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BF98C7-BBEE-4B00-B1B2-BD81FB9F84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7488" y="1340768"/>
            <a:ext cx="8860826" cy="4639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Screenshots for workflow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IN" dirty="0" err="1"/>
              <a:t>fetchContact</a:t>
            </a:r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BBBBF95-795D-4232-BB8C-E13787391B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1503" y="1052736"/>
            <a:ext cx="9025935" cy="5443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7504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Screenshots for workflow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IN" dirty="0" err="1"/>
              <a:t>createContact</a:t>
            </a:r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C963ED-FEAB-4B80-B92A-18FAA34FF7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5520" y="1052736"/>
            <a:ext cx="9112215" cy="5321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5957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IN" dirty="0" err="1"/>
              <a:t>deleteContact</a:t>
            </a:r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2FCBE17-6E6A-4A6F-AA0E-D62F8A67D3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9536" y="1196752"/>
            <a:ext cx="8436915" cy="5011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9387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IN" dirty="0" err="1"/>
              <a:t>editContact</a:t>
            </a:r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6EF46C-1C70-409D-B8EE-2FBB2A8ACC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7528" y="980728"/>
            <a:ext cx="9024021" cy="535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3476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IN" dirty="0" err="1"/>
              <a:t>searchContacts</a:t>
            </a:r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85414F-D275-4FB1-91C6-885A1951D5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9536" y="1124744"/>
            <a:ext cx="8517032" cy="5181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2961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IN" dirty="0" err="1"/>
              <a:t>bulkCreateContacts</a:t>
            </a:r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A838F37-F00E-4679-88C3-DFC6A8A76F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5560" y="1124744"/>
            <a:ext cx="8421538" cy="5144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4485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3d213ac-85bd-40e6-932d-744956140542"/>
  <p:tag name="MIO_GUID" val="23ca48ea-4a0c-40a8-b82c-6e474311ceb6"/>
  <p:tag name="MIO_UPDATE" val="True"/>
  <p:tag name="MIO_VERSION" val="16.02.2021 21:12:55"/>
  <p:tag name="MIO_DBID" val="0F45B44C-9BC7-4D85-81C4-7155EE70A7B9"/>
  <p:tag name="MIO_LASTDOWNLOADED" val="27.01.2022 10:55:12.285"/>
  <p:tag name="MIO_OBJECTNAME" val="Cover-01"/>
  <p:tag name="MIO_LASTEDITORNAME" val="Luke Johns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3d213ac-85bd-40e6-932d-744956140542"/>
  <p:tag name="MIO_GUID" val="bc726a1c-cc76-4cbd-9fc8-e0052a53a72c"/>
  <p:tag name="MIO_UPDATE" val="True"/>
  <p:tag name="MIO_VERSION" val="16.02.2021 21:12:55"/>
  <p:tag name="MIO_DBID" val="0F45B44C-9BC7-4D85-81C4-7155EE70A7B9"/>
  <p:tag name="MIO_LASTDOWNLOADED" val="27.01.2022 10:55:11.615"/>
  <p:tag name="MIO_OBJECTNAME" val="Cover-01"/>
  <p:tag name="MIO_LASTEDITORNAME" val="Luke Johnson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336</Words>
  <Application>Microsoft Office PowerPoint</Application>
  <PresentationFormat>Widescreen</PresentationFormat>
  <Paragraphs>55</Paragraphs>
  <Slides>10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Trebuchet MS</vt:lpstr>
      <vt:lpstr>Rubik</vt:lpstr>
      <vt:lpstr>Wingdings</vt:lpstr>
      <vt:lpstr>Symbol</vt:lpstr>
      <vt:lpstr>Software AG 2021</vt:lpstr>
      <vt:lpstr>bexio Provider</vt:lpstr>
      <vt:lpstr>bexio</vt:lpstr>
      <vt:lpstr>Screenshots for workflow</vt:lpstr>
      <vt:lpstr>Screenshots for workflow</vt:lpstr>
      <vt:lpstr>Screenshots for workflow</vt:lpstr>
      <vt:lpstr>Screenshots for workflow</vt:lpstr>
      <vt:lpstr>Screenshots for workflow</vt:lpstr>
      <vt:lpstr>Screenshots for workflow</vt:lpstr>
      <vt:lpstr>Screenshots for workflow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Ramachandran, Natarajan</cp:lastModifiedBy>
  <cp:revision>1</cp:revision>
  <dcterms:created xsi:type="dcterms:W3CDTF">2022-01-10T12:32:13Z</dcterms:created>
  <dcterms:modified xsi:type="dcterms:W3CDTF">2022-01-28T10:08:07Z</dcterms:modified>
</cp:coreProperties>
</file>